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4249" r:id="rId1"/>
  </p:sldMasterIdLst>
  <p:notesMasterIdLst>
    <p:notesMasterId r:id="rId11"/>
  </p:notesMasterIdLst>
  <p:handoutMasterIdLst>
    <p:handoutMasterId r:id="rId12"/>
  </p:handoutMasterIdLst>
  <p:sldIdLst>
    <p:sldId id="634" r:id="rId2"/>
    <p:sldId id="707" r:id="rId3"/>
    <p:sldId id="708" r:id="rId4"/>
    <p:sldId id="706" r:id="rId5"/>
    <p:sldId id="696" r:id="rId6"/>
    <p:sldId id="701" r:id="rId7"/>
    <p:sldId id="709" r:id="rId8"/>
    <p:sldId id="710" r:id="rId9"/>
    <p:sldId id="711" r:id="rId10"/>
  </p:sldIdLst>
  <p:sldSz cx="9144000" cy="6858000" type="screen4x3"/>
  <p:notesSz cx="6858000" cy="9144000"/>
  <p:embeddedFontLst>
    <p:embeddedFont>
      <p:font typeface="Arial Narrow" panose="020B0606020202030204" pitchFamily="34" charset="0"/>
      <p:regular r:id="rId13"/>
      <p:bold r:id="rId14"/>
      <p:italic r:id="rId15"/>
      <p:boldItalic r:id="rId16"/>
    </p:embeddedFont>
    <p:embeddedFont>
      <p:font typeface="Calibri" panose="020F0502020204030204" pitchFamily="34" charset="0"/>
      <p:regular r:id="rId17"/>
      <p:bold r:id="rId18"/>
      <p:italic r:id="rId19"/>
      <p:boldItalic r:id="rId20"/>
    </p:embeddedFont>
  </p:embeddedFont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folHlink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9E"/>
    <a:srgbClr val="3A4972"/>
    <a:srgbClr val="D5BD97"/>
    <a:srgbClr val="D4BD98"/>
    <a:srgbClr val="3DA8D5"/>
    <a:srgbClr val="0099FF"/>
    <a:srgbClr val="49AFED"/>
    <a:srgbClr val="37E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3456" autoAdjust="0"/>
    <p:restoredTop sz="95161" autoAdjust="0"/>
  </p:normalViewPr>
  <p:slideViewPr>
    <p:cSldViewPr snapToGrid="0">
      <p:cViewPr>
        <p:scale>
          <a:sx n="80" d="100"/>
          <a:sy n="80" d="100"/>
        </p:scale>
        <p:origin x="-852" y="102"/>
      </p:cViewPr>
      <p:guideLst>
        <p:guide orient="horz" pos="89"/>
        <p:guide orient="horz" pos="431"/>
        <p:guide orient="horz" pos="575"/>
        <p:guide orient="horz" pos="3825"/>
        <p:guide orient="horz" pos="1150"/>
        <p:guide pos="89"/>
        <p:guide pos="5675"/>
        <p:guide pos="28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80" d="100"/>
        <a:sy n="8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-3174" y="-96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Ark1'!#REF!</c:f>
              <c:strCache>
                <c:ptCount val="1"/>
                <c:pt idx="0">
                  <c:v>#REF!</c:v>
                </c:pt>
              </c:strCache>
            </c:strRef>
          </c:tx>
          <c:marker>
            <c:symbol val="none"/>
          </c:marker>
          <c:cat>
            <c:strRef>
              <c:f>'Ark1'!$A$1:$A$8</c:f>
              <c:strCache>
                <c:ptCount val="8"/>
                <c:pt idx="0">
                  <c:v>jan.14</c:v>
                </c:pt>
                <c:pt idx="1">
                  <c:v>feb.14</c:v>
                </c:pt>
                <c:pt idx="2">
                  <c:v>mar.14</c:v>
                </c:pt>
                <c:pt idx="3">
                  <c:v>apr.14</c:v>
                </c:pt>
                <c:pt idx="4">
                  <c:v>mai.14</c:v>
                </c:pt>
                <c:pt idx="5">
                  <c:v>jun.14</c:v>
                </c:pt>
                <c:pt idx="6">
                  <c:v>jul.14</c:v>
                </c:pt>
                <c:pt idx="7">
                  <c:v>aug.14</c:v>
                </c:pt>
              </c:strCache>
            </c:strRef>
          </c:cat>
          <c:val>
            <c:numRef>
              <c:f>'Ark1'!$B$1:$B$8</c:f>
              <c:numCache>
                <c:formatCode>General</c:formatCode>
                <c:ptCount val="8"/>
                <c:pt idx="0">
                  <c:v>0</c:v>
                </c:pt>
                <c:pt idx="1">
                  <c:v>42</c:v>
                </c:pt>
                <c:pt idx="2">
                  <c:v>48</c:v>
                </c:pt>
                <c:pt idx="3">
                  <c:v>60</c:v>
                </c:pt>
                <c:pt idx="4">
                  <c:v>73</c:v>
                </c:pt>
                <c:pt idx="5">
                  <c:v>93</c:v>
                </c:pt>
                <c:pt idx="6">
                  <c:v>103</c:v>
                </c:pt>
                <c:pt idx="7">
                  <c:v>11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490944"/>
        <c:axId val="65492480"/>
      </c:lineChart>
      <c:catAx>
        <c:axId val="654909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65492480"/>
        <c:crosses val="autoZero"/>
        <c:auto val="1"/>
        <c:lblAlgn val="ctr"/>
        <c:lblOffset val="100"/>
        <c:noMultiLvlLbl val="0"/>
      </c:catAx>
      <c:valAx>
        <c:axId val="6549248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65490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26E7830-CCAF-4755-A973-A6B19957ADFC}" type="datetime1">
              <a:rPr lang="en-GB"/>
              <a:pPr>
                <a:defRPr/>
              </a:pPr>
              <a:t>16/09/2014</a:t>
            </a:fld>
            <a:endParaRPr lang="en-GB" dirty="0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78AFC16-44C9-4907-A1C5-60FC877B15D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960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12D1422-32B9-487A-B8B0-2ADC457F953B}" type="datetime1">
              <a:rPr lang="en-GB"/>
              <a:pPr>
                <a:defRPr/>
              </a:pPr>
              <a:t>16/09/2014</a:t>
            </a:fld>
            <a:endParaRPr lang="en-GB" dirty="0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buSzTx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1740CDD-BE03-4A62-99EA-0BDAB568464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949625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-3175" y="1467293"/>
            <a:ext cx="9147175" cy="53907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5" name="Freeform 3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-3175" y="981075"/>
            <a:ext cx="91471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rgbClr val="DDDDDD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buSzPct val="90000"/>
              <a:defRPr/>
            </a:pPr>
            <a:endParaRPr lang="nb-NO" dirty="0"/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797175" y="571500"/>
            <a:ext cx="35290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0975" indent="-180975" algn="ctr" defTabSz="739775" eaLnBrk="0" hangingPunct="0">
              <a:spcBef>
                <a:spcPct val="50000"/>
              </a:spcBef>
              <a:buClr>
                <a:schemeClr val="accent1"/>
              </a:buClr>
              <a:buFont typeface="Wingdings" pitchFamily="2" charset="2"/>
              <a:buNone/>
              <a:tabLst>
                <a:tab pos="5818188" algn="r"/>
              </a:tabLst>
              <a:defRPr/>
            </a:pPr>
            <a:endParaRPr lang="fi-FI" sz="1300" b="1">
              <a:solidFill>
                <a:schemeClr val="accent1"/>
              </a:solidFill>
              <a:latin typeface="Arial Narrow" pitchFamily="34" charset="0"/>
            </a:endParaRPr>
          </a:p>
        </p:txBody>
      </p:sp>
      <p:sp>
        <p:nvSpPr>
          <p:cNvPr id="221188" name="Rectangle 4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2339975"/>
            <a:ext cx="7372350" cy="631825"/>
          </a:xfrm>
        </p:spPr>
        <p:txBody>
          <a:bodyPr lIns="972000" tIns="72000" rIns="72000" bIns="72000"/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320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nb-NO" altLang="en-US" dirty="0"/>
              <a:t>Sub-</a:t>
            </a:r>
            <a:r>
              <a:rPr lang="nb-NO" altLang="en-US" dirty="0" err="1"/>
              <a:t>title</a:t>
            </a:r>
            <a:r>
              <a:rPr lang="nb-NO" altLang="en-US" dirty="0"/>
              <a:t> and/or </a:t>
            </a:r>
            <a:r>
              <a:rPr lang="nb-NO" altLang="en-US" dirty="0" err="1"/>
              <a:t>name</a:t>
            </a:r>
            <a:endParaRPr lang="nb-NO" altLang="en-US" dirty="0"/>
          </a:p>
          <a:p>
            <a:r>
              <a:rPr lang="nb-NO" altLang="en-US" dirty="0" err="1" smtClean="0"/>
              <a:t>Calibri</a:t>
            </a:r>
            <a:r>
              <a:rPr lang="nb-NO" altLang="en-US" dirty="0" smtClean="0"/>
              <a:t>, 32pt </a:t>
            </a:r>
            <a:r>
              <a:rPr lang="nb-NO" altLang="en-US" dirty="0"/>
              <a:t>- </a:t>
            </a:r>
            <a:r>
              <a:rPr lang="nb-NO" altLang="en-US" dirty="0" err="1"/>
              <a:t>maximum</a:t>
            </a:r>
            <a:r>
              <a:rPr lang="nb-NO" altLang="en-US" dirty="0"/>
              <a:t> 2 lines)</a:t>
            </a:r>
            <a:endParaRPr lang="nb-NO" dirty="0"/>
          </a:p>
        </p:txBody>
      </p:sp>
      <p:sp>
        <p:nvSpPr>
          <p:cNvPr id="221189" name="Rectangle 5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0" y="1252538"/>
            <a:ext cx="9144000" cy="1101725"/>
          </a:xfrm>
        </p:spPr>
        <p:txBody>
          <a:bodyPr lIns="972000" tIns="360000" bIns="72000" anchor="b"/>
          <a:lstStyle>
            <a:lvl1pPr fontAlgn="t">
              <a:lnSpc>
                <a:spcPct val="100000"/>
              </a:lnSpc>
              <a:defRPr sz="400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nb-NO" altLang="en-US" dirty="0"/>
              <a:t>Main </a:t>
            </a:r>
            <a:r>
              <a:rPr lang="nb-NO" altLang="en-US" dirty="0" err="1"/>
              <a:t>Title</a:t>
            </a:r>
            <a:r>
              <a:rPr lang="nb-NO" altLang="en-US" dirty="0"/>
              <a:t/>
            </a:r>
            <a:br>
              <a:rPr lang="nb-NO" altLang="en-US" dirty="0"/>
            </a:br>
            <a:r>
              <a:rPr lang="nb-NO" altLang="en-US" dirty="0" smtClean="0"/>
              <a:t>(</a:t>
            </a:r>
            <a:r>
              <a:rPr lang="nb-NO" altLang="en-US" dirty="0" err="1" smtClean="0"/>
              <a:t>Calibri</a:t>
            </a:r>
            <a:r>
              <a:rPr lang="nb-NO" altLang="en-US" dirty="0" smtClean="0"/>
              <a:t>, </a:t>
            </a:r>
            <a:r>
              <a:rPr lang="nb-NO" altLang="en-US" dirty="0"/>
              <a:t>4</a:t>
            </a:r>
            <a:r>
              <a:rPr lang="nb-NO" altLang="en-US" dirty="0" smtClean="0"/>
              <a:t>0pt </a:t>
            </a:r>
            <a:r>
              <a:rPr lang="nb-NO" altLang="en-US" dirty="0"/>
              <a:t>-Maximum 2 lines)</a:t>
            </a:r>
            <a:endParaRPr lang="nb-NO" dirty="0"/>
          </a:p>
        </p:txBody>
      </p:sp>
      <p:pic>
        <p:nvPicPr>
          <p:cNvPr id="12" name="Picture 1" descr="K:\1 Consulting Bergen\Klient\Helse Vest_Programk NIKT\7 - Maler\Logo\NasjonalIKT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12633" y="429233"/>
            <a:ext cx="2188283" cy="43278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675C3EAD-6BC9-49A1-9C27-5F23BB656A41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E17CD3E-6FB9-4D44-8C05-0508D0CDCA20}" type="datetimeFigureOut">
              <a:rPr lang="nb-NO" smtClean="0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50813"/>
            <a:ext cx="2286000" cy="54244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50813"/>
            <a:ext cx="6705600" cy="54244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AADE9-A42D-4FC2-8A90-955C54AFB96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94EFB-8D52-4D7B-B851-474D4DB7919B}" type="datetimeFigureOut">
              <a:rPr lang="nb-NO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3200">
                <a:latin typeface="Calibri" panose="020F0502020204030204" pitchFamily="34" charset="0"/>
              </a:defRPr>
            </a:lvl1pPr>
            <a:lvl2pPr>
              <a:defRPr sz="3000">
                <a:latin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B49DD4-4D82-438A-AA07-54A126672EB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F968F4-467F-4D49-8A60-8F4221B994BF}" type="datetimeFigureOut">
              <a:rPr lang="nb-NO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latin typeface="Calibri" panose="020F0502020204030204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1CF2CC68-6531-446C-BF6C-AB6A5C8F805B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43A70A2-CB95-409D-8D5C-F53741F0BEC8}" type="datetimeFigureOut">
              <a:rPr lang="nb-NO" smtClean="0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788" y="1049338"/>
            <a:ext cx="4105275" cy="4525962"/>
          </a:xfrm>
        </p:spPr>
        <p:txBody>
          <a:bodyPr/>
          <a:lstStyle>
            <a:lvl1pPr>
              <a:defRPr sz="2800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9463" y="1049338"/>
            <a:ext cx="4106862" cy="4525962"/>
          </a:xfrm>
        </p:spPr>
        <p:txBody>
          <a:bodyPr/>
          <a:lstStyle>
            <a:lvl1pPr>
              <a:defRPr sz="2800">
                <a:latin typeface="Calibri" panose="020F0502020204030204" pitchFamily="34" charset="0"/>
              </a:defRPr>
            </a:lvl1pPr>
            <a:lvl2pPr>
              <a:defRPr sz="24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005879E-CADC-4222-9BFA-AC0869D108BE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EA0268A3-69A8-417D-AF9A-3547EC1CC00F}" type="datetimeFigureOut">
              <a:rPr lang="nb-NO" smtClean="0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D76FBA-4387-4E77-ACE2-AA93AC7DC2F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6E11B9-5FEE-4607-9D01-801CF08E677E}" type="datetimeFigureOut">
              <a:rPr lang="nb-NO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72252E-CA13-4CF1-9DB3-927FC73B06A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63BEA4-373D-478E-843B-DC0ACE60D969}" type="datetimeFigureOut">
              <a:rPr lang="nb-NO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A6F03-099D-4373-B7E8-E06A5ED9C98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134C78-F5B1-42FA-BD2E-D1681C0B58A8}" type="datetimeFigureOut">
              <a:rPr lang="nb-NO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99525" y="6686550"/>
            <a:ext cx="19685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F6216-B2C7-4186-9D8F-88B654D7B65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1"/>
          </p:nvPr>
        </p:nvSpPr>
        <p:spPr>
          <a:xfrm>
            <a:off x="7800975" y="6353175"/>
            <a:ext cx="1295400" cy="12223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6198B9-A445-49E2-B65F-CF830358D771}" type="datetimeFigureOut">
              <a:rPr lang="nb-NO"/>
              <a:pPr>
                <a:defRPr/>
              </a:pPr>
              <a:t>16.09.2014</a:t>
            </a:fld>
            <a:endParaRPr lang="en-GB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1788" y="1049338"/>
            <a:ext cx="8364537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0" tIns="0" rIns="180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smtClean="0"/>
              <a:t>Nivå 1 (Arial </a:t>
            </a:r>
            <a:r>
              <a:rPr lang="nb-NO" dirty="0" err="1" smtClean="0"/>
              <a:t>Narrow</a:t>
            </a:r>
            <a:r>
              <a:rPr lang="nb-NO" dirty="0" smtClean="0"/>
              <a:t> 18 PT):</a:t>
            </a:r>
          </a:p>
          <a:p>
            <a:pPr lvl="1"/>
            <a:r>
              <a:rPr lang="nb-NO" dirty="0" smtClean="0"/>
              <a:t>Nivå 2 (Arial Narrow16 PT)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0" y="150813"/>
            <a:ext cx="9144000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04000" tIns="3600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err="1" smtClean="0"/>
              <a:t>Overskrift</a:t>
            </a:r>
            <a:r>
              <a:rPr lang="fr-FR" dirty="0" smtClean="0"/>
              <a:t> (</a:t>
            </a:r>
            <a:r>
              <a:rPr lang="fr-FR" dirty="0" err="1" smtClean="0"/>
              <a:t>aldri</a:t>
            </a:r>
            <a:r>
              <a:rPr lang="fr-FR" dirty="0" smtClean="0"/>
              <a:t> mer </a:t>
            </a:r>
            <a:r>
              <a:rPr lang="fr-FR" dirty="0" err="1" smtClean="0"/>
              <a:t>enn</a:t>
            </a:r>
            <a:r>
              <a:rPr lang="fr-FR" dirty="0" smtClean="0"/>
              <a:t> to </a:t>
            </a:r>
            <a:r>
              <a:rPr lang="fr-FR" dirty="0" err="1" smtClean="0"/>
              <a:t>linjer</a:t>
            </a:r>
            <a:r>
              <a:rPr lang="fr-FR" dirty="0" smtClean="0"/>
              <a:t>)</a:t>
            </a:r>
          </a:p>
        </p:txBody>
      </p:sp>
      <p:sp>
        <p:nvSpPr>
          <p:cNvPr id="220165" name="Line 5"/>
          <p:cNvSpPr>
            <a:spLocks noChangeShapeType="1"/>
          </p:cNvSpPr>
          <p:nvPr/>
        </p:nvSpPr>
        <p:spPr bwMode="auto">
          <a:xfrm>
            <a:off x="0" y="6311900"/>
            <a:ext cx="9144000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SzPct val="90000"/>
              <a:defRPr/>
            </a:pPr>
            <a:endParaRPr lang="nb-NO" dirty="0">
              <a:latin typeface="Calibri" panose="020F0502020204030204" pitchFamily="34" charset="0"/>
            </a:endParaRPr>
          </a:p>
        </p:txBody>
      </p:sp>
      <p:sp>
        <p:nvSpPr>
          <p:cNvPr id="220166" name="Line 6"/>
          <p:cNvSpPr>
            <a:spLocks noChangeShapeType="1"/>
          </p:cNvSpPr>
          <p:nvPr/>
        </p:nvSpPr>
        <p:spPr bwMode="auto">
          <a:xfrm>
            <a:off x="0" y="776288"/>
            <a:ext cx="9142413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SzPct val="90000"/>
              <a:defRPr/>
            </a:pPr>
            <a:endParaRPr lang="nb-NO" dirty="0">
              <a:latin typeface="Calibri" panose="020F0502020204030204" pitchFamily="34" charset="0"/>
            </a:endParaRPr>
          </a:p>
        </p:txBody>
      </p:sp>
      <p:sp>
        <p:nvSpPr>
          <p:cNvPr id="220167" name="Line 7"/>
          <p:cNvSpPr>
            <a:spLocks noChangeShapeType="1"/>
          </p:cNvSpPr>
          <p:nvPr/>
        </p:nvSpPr>
        <p:spPr bwMode="auto">
          <a:xfrm>
            <a:off x="515938" y="776288"/>
            <a:ext cx="1036637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buSzPct val="90000"/>
              <a:defRPr/>
            </a:pPr>
            <a:endParaRPr lang="nb-NO" dirty="0">
              <a:latin typeface="Calibri" panose="020F0502020204030204" pitchFamily="34" charset="0"/>
            </a:endParaRPr>
          </a:p>
        </p:txBody>
      </p:sp>
      <p:pic>
        <p:nvPicPr>
          <p:cNvPr id="13" name="Picture 1" descr="K:\1 Consulting Bergen\Klient\Helse Vest_Programk NIKT\7 - Maler\Logo\NasjonalIKT.png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16541" y="6365648"/>
            <a:ext cx="2188283" cy="43278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36" r:id="rId1"/>
    <p:sldLayoutId id="2147484726" r:id="rId2"/>
    <p:sldLayoutId id="2147484727" r:id="rId3"/>
    <p:sldLayoutId id="2147484728" r:id="rId4"/>
    <p:sldLayoutId id="2147484729" r:id="rId5"/>
    <p:sldLayoutId id="2147484730" r:id="rId6"/>
    <p:sldLayoutId id="2147484731" r:id="rId7"/>
    <p:sldLayoutId id="2147484732" r:id="rId8"/>
    <p:sldLayoutId id="2147484733" r:id="rId9"/>
    <p:sldLayoutId id="2147484734" r:id="rId10"/>
    <p:sldLayoutId id="2147484735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5pPr>
      <a:lvl6pPr marL="4572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6pPr>
      <a:lvl7pPr marL="9144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7pPr>
      <a:lvl8pPr marL="13716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8pPr>
      <a:lvl9pPr marL="18288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9pPr>
    </p:titleStyle>
    <p:bodyStyle>
      <a:lvl1pPr marL="171450" indent="-1714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3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34963" indent="-15240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lr>
          <a:schemeClr val="bg2"/>
        </a:buClr>
        <a:buSzPct val="90000"/>
        <a:buChar char="•"/>
        <a:defRPr sz="3000">
          <a:solidFill>
            <a:schemeClr val="tx1"/>
          </a:solidFill>
          <a:latin typeface="Calibri" panose="020F0502020204030204" pitchFamily="34" charset="0"/>
        </a:defRPr>
      </a:lvl2pPr>
      <a:lvl3pPr marL="850900" indent="-17621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lr>
          <a:srgbClr val="969696"/>
        </a:buClr>
        <a:buFont typeface="Symbol" pitchFamily="18" charset="2"/>
        <a:buChar char="-"/>
        <a:defRPr sz="1400">
          <a:solidFill>
            <a:schemeClr val="tx1"/>
          </a:solidFill>
          <a:latin typeface="+mn-lt"/>
        </a:defRPr>
      </a:lvl3pPr>
      <a:lvl4pPr marL="1162050" indent="-13176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•"/>
        <a:defRPr sz="1200">
          <a:solidFill>
            <a:schemeClr val="tx1"/>
          </a:solidFill>
          <a:latin typeface="Arial" charset="0"/>
        </a:defRPr>
      </a:lvl4pPr>
      <a:lvl5pPr marL="19621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5pPr>
      <a:lvl6pPr marL="24193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6pPr>
      <a:lvl7pPr marL="28765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7pPr>
      <a:lvl8pPr marL="33337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8pPr>
      <a:lvl9pPr marL="37909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creativecommons.org/licenses/by-sa/4.0/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arketyper.no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2339976"/>
            <a:ext cx="7372350" cy="1317624"/>
          </a:xfrm>
        </p:spPr>
        <p:txBody>
          <a:bodyPr>
            <a:normAutofit fontScale="77500" lnSpcReduction="20000"/>
          </a:bodyPr>
          <a:lstStyle/>
          <a:p>
            <a:r>
              <a:rPr lang="en-AU" sz="3900" i="1" dirty="0" smtClean="0"/>
              <a:t>Silje </a:t>
            </a:r>
            <a:r>
              <a:rPr lang="en-AU" sz="3900" i="1" dirty="0"/>
              <a:t>L. </a:t>
            </a:r>
            <a:r>
              <a:rPr lang="en-AU" sz="3900" i="1" dirty="0" smtClean="0"/>
              <a:t>Bakke</a:t>
            </a:r>
          </a:p>
          <a:p>
            <a:r>
              <a:rPr lang="en-AU" sz="3900" i="1" dirty="0" smtClean="0"/>
              <a:t>Archetype </a:t>
            </a:r>
            <a:r>
              <a:rPr lang="en-AU" sz="3900" i="1" dirty="0"/>
              <a:t>coordinator</a:t>
            </a:r>
          </a:p>
          <a:p>
            <a:r>
              <a:rPr lang="en-AU" sz="3900" i="1" dirty="0"/>
              <a:t>National ICT Norway</a:t>
            </a:r>
          </a:p>
          <a:p>
            <a:pPr>
              <a:buNone/>
            </a:pPr>
            <a:endParaRPr lang="en-AU" sz="4000" i="1" dirty="0" smtClean="0"/>
          </a:p>
        </p:txBody>
      </p:sp>
      <p:sp>
        <p:nvSpPr>
          <p:cNvPr id="2" name="Tittel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AU" dirty="0" smtClean="0"/>
              <a:t>Norwegian national governance of archetypes: an update</a:t>
            </a:r>
            <a:endParaRPr lang="en-AU" dirty="0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-144360" y="6243712"/>
            <a:ext cx="8016949" cy="49244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altLang="nb-NO" sz="900" b="0" i="0" u="none" strike="noStrike" cap="none" normalizeH="0" baseline="0" dirty="0" smtClean="0">
                <a:ln>
                  <a:noFill/>
                </a:ln>
                <a:solidFill>
                  <a:srgbClr val="4374B7"/>
                </a:solidFill>
                <a:effectLst/>
                <a:latin typeface="Helvetica Neue"/>
                <a:cs typeface="Arial" pitchFamily="34" charset="0"/>
                <a:hlinkClick r:id="rId2"/>
              </a:rPr>
              <a:t>  </a:t>
            </a:r>
            <a:r>
              <a:rPr kumimoji="0" lang="en-AU" altLang="nb-NO" sz="1800" b="0" i="0" u="none" strike="noStrike" cap="none" normalizeH="0" baseline="0" dirty="0" smtClean="0">
                <a:ln>
                  <a:noFill/>
                </a:ln>
                <a:solidFill>
                  <a:srgbClr val="4374B7"/>
                </a:solidFill>
                <a:effectLst/>
                <a:latin typeface="Helvetica Neue"/>
                <a:cs typeface="Arial" pitchFamily="34" charset="0"/>
              </a:rPr>
              <a:t> </a:t>
            </a:r>
            <a:r>
              <a:rPr kumimoji="0" lang="en-AU" altLang="nb-NO" sz="900" b="0" i="0" u="none" strike="noStrike" cap="none" normalizeH="0" baseline="0" dirty="0" smtClean="0">
                <a:ln>
                  <a:noFill/>
                </a:ln>
                <a:solidFill>
                  <a:srgbClr val="4374B7"/>
                </a:solidFill>
                <a:effectLst/>
                <a:latin typeface="Helvetica Neue"/>
                <a:cs typeface="Arial" pitchFamily="34" charset="0"/>
              </a:rPr>
              <a:t>                         </a:t>
            </a:r>
            <a:r>
              <a:rPr kumimoji="0" lang="en-AU" altLang="nb-NO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  <a:t/>
            </a:r>
            <a:br>
              <a:rPr kumimoji="0" lang="en-AU" altLang="nb-NO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</a:br>
            <a:r>
              <a:rPr kumimoji="0" lang="en-AU" altLang="nb-NO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Helvetica Neue"/>
                <a:cs typeface="Arial" pitchFamily="34" charset="0"/>
              </a:rPr>
              <a:t>This work is licensed under a </a:t>
            </a:r>
            <a:r>
              <a:rPr kumimoji="0" lang="en-AU" altLang="nb-NO" sz="1400" b="0" i="0" u="none" strike="noStrike" cap="none" normalizeH="0" baseline="0" dirty="0" smtClean="0">
                <a:ln>
                  <a:noFill/>
                </a:ln>
                <a:solidFill>
                  <a:srgbClr val="4374B7"/>
                </a:solidFill>
                <a:effectLst/>
                <a:latin typeface="Helvetica Neue"/>
                <a:cs typeface="Arial" pitchFamily="34" charset="0"/>
                <a:hlinkClick r:id="rId2"/>
              </a:rPr>
              <a:t>Creative Commons Attribution-</a:t>
            </a:r>
            <a:r>
              <a:rPr kumimoji="0" lang="en-AU" altLang="nb-NO" sz="1400" b="0" i="0" u="none" strike="noStrike" cap="none" normalizeH="0" baseline="0" dirty="0" smtClean="0">
                <a:ln>
                  <a:noFill/>
                </a:ln>
                <a:solidFill>
                  <a:srgbClr val="4374B7"/>
                </a:solidFill>
                <a:effectLst/>
                <a:latin typeface="Helvetica Neue"/>
                <a:cs typeface="Arial" pitchFamily="34" charset="0"/>
                <a:hlinkClick r:id="rId2"/>
              </a:rPr>
              <a:t>ShareAlike</a:t>
            </a:r>
            <a:r>
              <a:rPr kumimoji="0" lang="en-AU" altLang="nb-NO" sz="1400" b="0" i="0" u="none" strike="noStrike" cap="none" normalizeH="0" baseline="0" dirty="0" smtClean="0">
                <a:ln>
                  <a:noFill/>
                </a:ln>
                <a:solidFill>
                  <a:srgbClr val="4374B7"/>
                </a:solidFill>
                <a:effectLst/>
                <a:latin typeface="Helvetica Neue"/>
                <a:cs typeface="Arial" pitchFamily="34" charset="0"/>
                <a:hlinkClick r:id="rId2"/>
              </a:rPr>
              <a:t> 4.0 International License</a:t>
            </a:r>
            <a:r>
              <a:rPr kumimoji="0" lang="en-AU" altLang="nb-NO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Helvetica Neue"/>
                <a:cs typeface="Arial" pitchFamily="34" charset="0"/>
              </a:rPr>
              <a:t>.</a:t>
            </a:r>
            <a:r>
              <a:rPr kumimoji="0" lang="en-AU" altLang="nb-NO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cs typeface="Arial" pitchFamily="34" charset="0"/>
              </a:rPr>
              <a:t> </a:t>
            </a:r>
            <a:endParaRPr kumimoji="0" lang="en-AU" altLang="nb-NO" sz="1400" b="0" i="0" u="none" strike="noStrike" cap="none" normalizeH="0" baseline="0" dirty="0" smtClean="0">
              <a:ln>
                <a:noFill/>
              </a:ln>
              <a:solidFill>
                <a:srgbClr val="4374B7"/>
              </a:solidFill>
              <a:effectLst/>
              <a:latin typeface="Helvetica Neue"/>
              <a:cs typeface="Arial" pitchFamily="34" charset="0"/>
            </a:endParaRPr>
          </a:p>
        </p:txBody>
      </p:sp>
      <p:pic>
        <p:nvPicPr>
          <p:cNvPr id="1028" name="Picture 4" descr="Creative Commons License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589" y="6304030"/>
            <a:ext cx="1117460" cy="39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National archetype governance</a:t>
            </a:r>
            <a:endParaRPr lang="en-AU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National ICT has developed and deployed a national archetype governance </a:t>
            </a:r>
            <a:r>
              <a:rPr lang="en-AU" dirty="0" smtClean="0"/>
              <a:t>scheme</a:t>
            </a:r>
          </a:p>
          <a:p>
            <a:r>
              <a:rPr lang="en-AU" dirty="0" smtClean="0"/>
              <a:t>Three people employed</a:t>
            </a:r>
          </a:p>
          <a:p>
            <a:pPr lvl="1"/>
            <a:r>
              <a:rPr lang="en-AU" dirty="0" smtClean="0"/>
              <a:t>Leader and two coordinators</a:t>
            </a:r>
          </a:p>
          <a:p>
            <a:pPr lvl="1"/>
            <a:r>
              <a:rPr lang="en-AU" dirty="0" smtClean="0"/>
              <a:t>Total of two full time positions</a:t>
            </a:r>
            <a:endParaRPr lang="en-AU" dirty="0"/>
          </a:p>
          <a:p>
            <a:r>
              <a:rPr lang="en-AU" dirty="0"/>
              <a:t>Goals</a:t>
            </a:r>
          </a:p>
          <a:p>
            <a:pPr lvl="1"/>
            <a:r>
              <a:rPr lang="en-AU" dirty="0"/>
              <a:t>High quality archetypes</a:t>
            </a:r>
          </a:p>
          <a:p>
            <a:pPr lvl="1"/>
            <a:r>
              <a:rPr lang="en-AU" dirty="0"/>
              <a:t>Semantic interoperability through use of identical </a:t>
            </a:r>
            <a:r>
              <a:rPr lang="en-AU" dirty="0" smtClean="0"/>
              <a:t>archetype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74653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AU" sz="4000" dirty="0" smtClean="0">
                <a:latin typeface="Calibri" panose="020F0502020204030204" pitchFamily="34" charset="0"/>
              </a:rPr>
              <a:t>National archetype governance, cont’d</a:t>
            </a:r>
            <a:endParaRPr lang="en-AU" sz="4000" dirty="0">
              <a:latin typeface="Calibri" panose="020F0502020204030204" pitchFamily="3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 smtClean="0"/>
              <a:t>Clinical Knowledge Manager (CKM)</a:t>
            </a:r>
          </a:p>
          <a:p>
            <a:pPr lvl="1"/>
            <a:r>
              <a:rPr lang="en-AU" dirty="0" smtClean="0">
                <a:hlinkClick r:id="rId2"/>
              </a:rPr>
              <a:t>http://arketyper.no</a:t>
            </a:r>
            <a:r>
              <a:rPr lang="en-AU" dirty="0" smtClean="0"/>
              <a:t> </a:t>
            </a:r>
            <a:endParaRPr lang="en-AU" dirty="0" smtClean="0"/>
          </a:p>
          <a:p>
            <a:r>
              <a:rPr lang="en-AU" dirty="0" smtClean="0"/>
              <a:t>Use</a:t>
            </a:r>
          </a:p>
          <a:p>
            <a:pPr lvl="1"/>
            <a:r>
              <a:rPr lang="en-AU" dirty="0" smtClean="0"/>
              <a:t>Collaborative development</a:t>
            </a:r>
          </a:p>
          <a:p>
            <a:pPr lvl="1"/>
            <a:r>
              <a:rPr lang="en-AU" dirty="0" smtClean="0"/>
              <a:t>Review and approval</a:t>
            </a:r>
          </a:p>
          <a:p>
            <a:pPr lvl="1"/>
            <a:r>
              <a:rPr lang="en-AU" dirty="0" smtClean="0"/>
              <a:t>Sharing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59662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Governance organisation</a:t>
            </a:r>
            <a:endParaRPr lang="en-AU" dirty="0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31" y="923213"/>
            <a:ext cx="9045506" cy="5099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FC9C7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2E4C8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3" name="Rektangel 2"/>
          <p:cNvSpPr/>
          <p:nvPr/>
        </p:nvSpPr>
        <p:spPr>
          <a:xfrm>
            <a:off x="1158949" y="3009014"/>
            <a:ext cx="7145079" cy="797442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467474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z="4000" dirty="0" smtClean="0">
                <a:latin typeface="Calibri" panose="020F0502020204030204" pitchFamily="34" charset="0"/>
              </a:rPr>
              <a:t>Dev’t, review and approval</a:t>
            </a:r>
            <a:endParaRPr lang="en-AU" sz="4000" dirty="0">
              <a:latin typeface="Calibri" panose="020F0502020204030204" pitchFamily="3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31788" y="1049338"/>
            <a:ext cx="8525133" cy="452596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AU" sz="3200" dirty="0" smtClean="0"/>
              <a:t>Distributed archetype develop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AU" dirty="0"/>
              <a:t>Local initiatives define requiremen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AU" sz="3000" dirty="0" smtClean="0"/>
              <a:t>“Do-</a:t>
            </a:r>
            <a:r>
              <a:rPr lang="en-AU" sz="3000" dirty="0" smtClean="0"/>
              <a:t>ocracy</a:t>
            </a:r>
            <a:r>
              <a:rPr lang="en-AU" sz="3000" dirty="0" smtClean="0"/>
              <a:t>” – doers make the </a:t>
            </a:r>
            <a:r>
              <a:rPr lang="en-AU" sz="3000" dirty="0" smtClean="0"/>
              <a:t>decisions</a:t>
            </a:r>
          </a:p>
          <a:p>
            <a:r>
              <a:rPr lang="en-AU" sz="3200" dirty="0" smtClean="0"/>
              <a:t>Reviews are initiated by the editorial group</a:t>
            </a:r>
          </a:p>
          <a:p>
            <a:pPr lvl="1"/>
            <a:r>
              <a:rPr lang="en-AU" sz="3000" dirty="0" smtClean="0"/>
              <a:t>Requirements, recruiting of reviewers, </a:t>
            </a:r>
            <a:r>
              <a:rPr lang="en-AU" sz="3000" b="1" dirty="0" smtClean="0"/>
              <a:t>CKM(!)</a:t>
            </a:r>
          </a:p>
          <a:p>
            <a:r>
              <a:rPr lang="en-AU" sz="3200" dirty="0" smtClean="0"/>
              <a:t>Approval is done by the editorial group</a:t>
            </a:r>
          </a:p>
          <a:p>
            <a:pPr lvl="1"/>
            <a:r>
              <a:rPr lang="en-AU" sz="3000" dirty="0" smtClean="0"/>
              <a:t>If requirements are met</a:t>
            </a:r>
          </a:p>
          <a:p>
            <a:endParaRPr lang="en-AU" sz="3200" b="1" dirty="0" smtClean="0"/>
          </a:p>
          <a:p>
            <a:endParaRPr lang="en-AU" sz="3400" dirty="0" smtClean="0"/>
          </a:p>
          <a:p>
            <a:pPr>
              <a:buFont typeface="Arial" panose="020B0604020202020204" pitchFamily="34" charset="0"/>
              <a:buChar char="•"/>
            </a:pPr>
            <a:endParaRPr lang="en-AU" sz="3200" dirty="0"/>
          </a:p>
        </p:txBody>
      </p:sp>
    </p:spTree>
    <p:extLst>
      <p:ext uri="{BB962C8B-B14F-4D97-AF65-F5344CB8AC3E}">
        <p14:creationId xmlns:p14="http://schemas.microsoft.com/office/powerpoint/2010/main" val="13574108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Some results and problems</a:t>
            </a:r>
            <a:endParaRPr lang="en-AU" dirty="0"/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8016937"/>
              </p:ext>
            </p:extLst>
          </p:nvPr>
        </p:nvGraphicFramePr>
        <p:xfrm>
          <a:off x="4657060" y="1049338"/>
          <a:ext cx="4039265" cy="4139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Plassholder for innhold 2"/>
          <p:cNvSpPr txBox="1">
            <a:spLocks/>
          </p:cNvSpPr>
          <p:nvPr/>
        </p:nvSpPr>
        <p:spPr bwMode="auto">
          <a:xfrm>
            <a:off x="331788" y="1049338"/>
            <a:ext cx="4527291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0" tIns="0" rIns="180000" bIns="36000" numCol="1" anchor="t" anchorCtr="0" compatLnSpc="1">
            <a:prstTxWarp prst="textNoShape">
              <a:avLst/>
            </a:prstTxWarp>
          </a:bodyPr>
          <a:lstStyle>
            <a:lvl1pPr marL="171450" indent="-171450" algn="l" rt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34963" indent="-152400" algn="l" rt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chemeClr val="bg2"/>
              </a:buClr>
              <a:buSzPct val="9000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0900" indent="-176213" algn="l" rt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>
                <a:srgbClr val="969696"/>
              </a:buClr>
              <a:buFont typeface="Symbol" pitchFamily="18" charset="2"/>
              <a:buChar char="-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162050" indent="-131763" algn="l" rtl="0" eaLnBrk="0" fontAlgn="base" hangingPunct="0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har char="•"/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9621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193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Arial" charset="0"/>
              </a:defRPr>
            </a:lvl6pPr>
            <a:lvl7pPr marL="28765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3337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7909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AU" kern="0" dirty="0" smtClean="0"/>
              <a:t>Recruiting CKM users is relatively easy</a:t>
            </a:r>
          </a:p>
          <a:p>
            <a:r>
              <a:rPr lang="en-AU" kern="0" dirty="0" smtClean="0"/>
              <a:t>However:</a:t>
            </a:r>
          </a:p>
          <a:p>
            <a:pPr lvl="1"/>
            <a:r>
              <a:rPr lang="en-AU" kern="0" dirty="0" smtClean="0"/>
              <a:t>Not all are active clinicians</a:t>
            </a:r>
          </a:p>
          <a:p>
            <a:pPr lvl="1"/>
            <a:r>
              <a:rPr lang="en-AU" kern="0" dirty="0" smtClean="0"/>
              <a:t>Some professions/ specialities are harder to recruit than others</a:t>
            </a:r>
          </a:p>
          <a:p>
            <a:pPr lvl="1"/>
            <a:r>
              <a:rPr lang="en-AU" kern="0" dirty="0" smtClean="0"/>
              <a:t>Not all actually respond to review invitations</a:t>
            </a:r>
          </a:p>
          <a:p>
            <a:endParaRPr lang="en-AU" sz="3400" kern="0" dirty="0" smtClean="0"/>
          </a:p>
          <a:p>
            <a:endParaRPr lang="en-AU" kern="0" dirty="0"/>
          </a:p>
        </p:txBody>
      </p:sp>
    </p:spTree>
    <p:extLst>
      <p:ext uri="{BB962C8B-B14F-4D97-AF65-F5344CB8AC3E}">
        <p14:creationId xmlns:p14="http://schemas.microsoft.com/office/powerpoint/2010/main" val="21513848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More results and problems</a:t>
            </a:r>
            <a:endParaRPr lang="en-AU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 smtClean="0"/>
              <a:t>Late-coming requests for structural changes means we bother clinicians with more review rounds than necessary</a:t>
            </a:r>
          </a:p>
          <a:p>
            <a:r>
              <a:rPr lang="en-AU" dirty="0" smtClean="0"/>
              <a:t>Probably will lead to increased dropout rat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44496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Even more results (without problems?)</a:t>
            </a:r>
            <a:endParaRPr lang="en-AU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 smtClean="0"/>
              <a:t>We’re still getting really good quality input from both clinicians and others</a:t>
            </a:r>
          </a:p>
          <a:p>
            <a:r>
              <a:rPr lang="en-AU" dirty="0" smtClean="0"/>
              <a:t>There have been no insurmountable disagreements (yet)</a:t>
            </a:r>
          </a:p>
          <a:p>
            <a:r>
              <a:rPr lang="en-AU" dirty="0" smtClean="0"/>
              <a:t>We’ve managed to approve one archetype (guess which)</a:t>
            </a:r>
          </a:p>
          <a:p>
            <a:pPr lvl="1"/>
            <a:r>
              <a:rPr lang="en-AU" dirty="0" smtClean="0"/>
              <a:t>Six more on the way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456444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Possible solutions</a:t>
            </a:r>
            <a:endParaRPr lang="en-AU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800" dirty="0" smtClean="0"/>
              <a:t>Recruiting/getting response:</a:t>
            </a:r>
          </a:p>
          <a:p>
            <a:pPr lvl="1"/>
            <a:r>
              <a:rPr lang="en-AU" sz="2800" dirty="0" smtClean="0"/>
              <a:t>Get the regional resource groups up and running</a:t>
            </a:r>
          </a:p>
          <a:p>
            <a:pPr lvl="2"/>
            <a:r>
              <a:rPr lang="en-AU" sz="2400" dirty="0" smtClean="0"/>
              <a:t>Closer follow up of clinicians invited to reviews</a:t>
            </a:r>
          </a:p>
          <a:p>
            <a:pPr lvl="2"/>
            <a:r>
              <a:rPr lang="en-AU" sz="2400" dirty="0" smtClean="0"/>
              <a:t>Recruiting more clinicians to get more redundancy</a:t>
            </a:r>
          </a:p>
          <a:p>
            <a:pPr lvl="1"/>
            <a:r>
              <a:rPr lang="en-AU" sz="2800" dirty="0" smtClean="0"/>
              <a:t>Translate at the very least the emails from the CKM</a:t>
            </a:r>
          </a:p>
          <a:p>
            <a:r>
              <a:rPr lang="en-AU" sz="2800" dirty="0" smtClean="0"/>
              <a:t>Late structural changes to archetypes:</a:t>
            </a:r>
          </a:p>
          <a:p>
            <a:pPr lvl="1"/>
            <a:r>
              <a:rPr lang="en-AU" sz="2800" dirty="0" smtClean="0"/>
              <a:t>Get the design group up and running</a:t>
            </a:r>
          </a:p>
          <a:p>
            <a:pPr lvl="2"/>
            <a:r>
              <a:rPr lang="en-AU" sz="2400" dirty="0" smtClean="0"/>
              <a:t>Including vendor(s)</a:t>
            </a:r>
          </a:p>
          <a:p>
            <a:pPr lvl="2"/>
            <a:r>
              <a:rPr lang="en-AU" sz="2400" dirty="0" smtClean="0"/>
              <a:t>Do early technician/health informatician reviews prior to clinical reviews</a:t>
            </a:r>
          </a:p>
        </p:txBody>
      </p:sp>
    </p:spTree>
    <p:extLst>
      <p:ext uri="{BB962C8B-B14F-4D97-AF65-F5344CB8AC3E}">
        <p14:creationId xmlns:p14="http://schemas.microsoft.com/office/powerpoint/2010/main" val="8173077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Powerpointmal">
  <a:themeElements>
    <a:clrScheme name="Powerpointmal 9">
      <a:dk1>
        <a:srgbClr val="080808"/>
      </a:dk1>
      <a:lt1>
        <a:srgbClr val="FFFFFF"/>
      </a:lt1>
      <a:dk2>
        <a:srgbClr val="000000"/>
      </a:dk2>
      <a:lt2>
        <a:srgbClr val="B3DEE3"/>
      </a:lt2>
      <a:accent1>
        <a:srgbClr val="00468C"/>
      </a:accent1>
      <a:accent2>
        <a:srgbClr val="D0D0D0"/>
      </a:accent2>
      <a:accent3>
        <a:srgbClr val="FFFFFF"/>
      </a:accent3>
      <a:accent4>
        <a:srgbClr val="060606"/>
      </a:accent4>
      <a:accent5>
        <a:srgbClr val="AAB0C5"/>
      </a:accent5>
      <a:accent6>
        <a:srgbClr val="BCBCBC"/>
      </a:accent6>
      <a:hlink>
        <a:srgbClr val="0096CC"/>
      </a:hlink>
      <a:folHlink>
        <a:srgbClr val="969696"/>
      </a:folHlink>
    </a:clrScheme>
    <a:fontScheme name="Powerpointmal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mal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2">
        <a:dk1>
          <a:srgbClr val="292929"/>
        </a:dk1>
        <a:lt1>
          <a:srgbClr val="FFFFFF"/>
        </a:lt1>
        <a:dk2>
          <a:srgbClr val="000000"/>
        </a:dk2>
        <a:lt2>
          <a:srgbClr val="F0CD96"/>
        </a:lt2>
        <a:accent1>
          <a:srgbClr val="B4AA82"/>
        </a:accent1>
        <a:accent2>
          <a:srgbClr val="D0D0D0"/>
        </a:accent2>
        <a:accent3>
          <a:srgbClr val="FFFFFF"/>
        </a:accent3>
        <a:accent4>
          <a:srgbClr val="212121"/>
        </a:accent4>
        <a:accent5>
          <a:srgbClr val="D6D2C1"/>
        </a:accent5>
        <a:accent6>
          <a:srgbClr val="BCBCBC"/>
        </a:accent6>
        <a:hlink>
          <a:srgbClr val="96C0BE"/>
        </a:hlink>
        <a:folHlink>
          <a:srgbClr val="F0CD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3">
        <a:dk1>
          <a:srgbClr val="292929"/>
        </a:dk1>
        <a:lt1>
          <a:srgbClr val="FFFFFF"/>
        </a:lt1>
        <a:dk2>
          <a:srgbClr val="000000"/>
        </a:dk2>
        <a:lt2>
          <a:srgbClr val="F0CD96"/>
        </a:lt2>
        <a:accent1>
          <a:srgbClr val="B4AA82"/>
        </a:accent1>
        <a:accent2>
          <a:srgbClr val="D0D0D0"/>
        </a:accent2>
        <a:accent3>
          <a:srgbClr val="FFFFFF"/>
        </a:accent3>
        <a:accent4>
          <a:srgbClr val="212121"/>
        </a:accent4>
        <a:accent5>
          <a:srgbClr val="D6D2C1"/>
        </a:accent5>
        <a:accent6>
          <a:srgbClr val="BCBCBC"/>
        </a:accent6>
        <a:hlink>
          <a:srgbClr val="96C0BE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4">
        <a:dk1>
          <a:srgbClr val="4F7F97"/>
        </a:dk1>
        <a:lt1>
          <a:srgbClr val="FFFFFF"/>
        </a:lt1>
        <a:dk2>
          <a:srgbClr val="000000"/>
        </a:dk2>
        <a:lt2>
          <a:srgbClr val="9FD5D9"/>
        </a:lt2>
        <a:accent1>
          <a:srgbClr val="B4AA82"/>
        </a:accent1>
        <a:accent2>
          <a:srgbClr val="D0D0D0"/>
        </a:accent2>
        <a:accent3>
          <a:srgbClr val="FFFFFF"/>
        </a:accent3>
        <a:accent4>
          <a:srgbClr val="426C80"/>
        </a:accent4>
        <a:accent5>
          <a:srgbClr val="D6D2C1"/>
        </a:accent5>
        <a:accent6>
          <a:srgbClr val="BCBCBC"/>
        </a:accent6>
        <a:hlink>
          <a:srgbClr val="96C0BE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5">
        <a:dk1>
          <a:srgbClr val="080808"/>
        </a:dk1>
        <a:lt1>
          <a:srgbClr val="FFFFFF"/>
        </a:lt1>
        <a:dk2>
          <a:srgbClr val="000000"/>
        </a:dk2>
        <a:lt2>
          <a:srgbClr val="9FD5D9"/>
        </a:lt2>
        <a:accent1>
          <a:srgbClr val="4F7F97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B2C0C9"/>
        </a:accent5>
        <a:accent6>
          <a:srgbClr val="BCBCBC"/>
        </a:accent6>
        <a:hlink>
          <a:srgbClr val="96C0BE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6">
        <a:dk1>
          <a:srgbClr val="080808"/>
        </a:dk1>
        <a:lt1>
          <a:srgbClr val="FFFFFF"/>
        </a:lt1>
        <a:dk2>
          <a:srgbClr val="000000"/>
        </a:dk2>
        <a:lt2>
          <a:srgbClr val="9FD5D9"/>
        </a:lt2>
        <a:accent1>
          <a:srgbClr val="4F7F97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B2C0C9"/>
        </a:accent5>
        <a:accent6>
          <a:srgbClr val="BCBCBC"/>
        </a:accent6>
        <a:hlink>
          <a:srgbClr val="ACDCF0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7">
        <a:dk1>
          <a:srgbClr val="080808"/>
        </a:dk1>
        <a:lt1>
          <a:srgbClr val="FFFFFF"/>
        </a:lt1>
        <a:dk2>
          <a:srgbClr val="000000"/>
        </a:dk2>
        <a:lt2>
          <a:srgbClr val="006698"/>
        </a:lt2>
        <a:accent1>
          <a:srgbClr val="4F7F97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B2C0C9"/>
        </a:accent5>
        <a:accent6>
          <a:srgbClr val="BCBCBC"/>
        </a:accent6>
        <a:hlink>
          <a:srgbClr val="ACDCF0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8">
        <a:dk1>
          <a:srgbClr val="080808"/>
        </a:dk1>
        <a:lt1>
          <a:srgbClr val="FFFFFF"/>
        </a:lt1>
        <a:dk2>
          <a:srgbClr val="000000"/>
        </a:dk2>
        <a:lt2>
          <a:srgbClr val="00468C"/>
        </a:lt2>
        <a:accent1>
          <a:srgbClr val="B3DEE3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D6ECEF"/>
        </a:accent5>
        <a:accent6>
          <a:srgbClr val="BCBCBC"/>
        </a:accent6>
        <a:hlink>
          <a:srgbClr val="0096CC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9">
        <a:dk1>
          <a:srgbClr val="080808"/>
        </a:dk1>
        <a:lt1>
          <a:srgbClr val="FFFFFF"/>
        </a:lt1>
        <a:dk2>
          <a:srgbClr val="000000"/>
        </a:dk2>
        <a:lt2>
          <a:srgbClr val="B3DEE3"/>
        </a:lt2>
        <a:accent1>
          <a:srgbClr val="00468C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AAB0C5"/>
        </a:accent5>
        <a:accent6>
          <a:srgbClr val="BCBCBC"/>
        </a:accent6>
        <a:hlink>
          <a:srgbClr val="0096CC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830</TotalTime>
  <Words>291</Words>
  <Application>Microsoft Office PowerPoint</Application>
  <PresentationFormat>Skjermfremvisning (4:3)</PresentationFormat>
  <Paragraphs>54</Paragraphs>
  <Slides>9</Slides>
  <Notes>0</Notes>
  <HiddenSlides>0</HiddenSlides>
  <MMClips>0</MMClips>
  <ScaleCrop>false</ScaleCrop>
  <HeadingPairs>
    <vt:vector size="6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6" baseType="lpstr">
      <vt:lpstr>Arial</vt:lpstr>
      <vt:lpstr>Arial Narrow</vt:lpstr>
      <vt:lpstr>Wingdings</vt:lpstr>
      <vt:lpstr>Helvetica Neue</vt:lpstr>
      <vt:lpstr>Calibri</vt:lpstr>
      <vt:lpstr>Symbol</vt:lpstr>
      <vt:lpstr>Powerpointmal</vt:lpstr>
      <vt:lpstr>Norwegian national governance of archetypes: an update</vt:lpstr>
      <vt:lpstr>National archetype governance</vt:lpstr>
      <vt:lpstr>National archetype governance, cont’d</vt:lpstr>
      <vt:lpstr>Governance organisation</vt:lpstr>
      <vt:lpstr>Dev’t, review and approval</vt:lpstr>
      <vt:lpstr>Some results and problems</vt:lpstr>
      <vt:lpstr>More results and problems</vt:lpstr>
      <vt:lpstr>Even more results (without problems?)</vt:lpstr>
      <vt:lpstr>Possible solutions</vt:lpstr>
    </vt:vector>
  </TitlesOfParts>
  <Company>PricewaterhouseCoope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sjonal IKT</dc:title>
  <dc:creator>Tore Totland</dc:creator>
  <cp:lastModifiedBy>Silje Ljosland Bakke</cp:lastModifiedBy>
  <cp:revision>971</cp:revision>
  <dcterms:created xsi:type="dcterms:W3CDTF">2003-11-24T19:13:09Z</dcterms:created>
  <dcterms:modified xsi:type="dcterms:W3CDTF">2014-09-17T07:5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in-support.com as part of the Toolbox project.</vt:lpwstr>
  </property>
</Properties>
</file>